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13"/>
  </p:notesMasterIdLst>
  <p:sldIdLst>
    <p:sldId id="256" r:id="rId3"/>
    <p:sldId id="257" r:id="rId4"/>
    <p:sldId id="265" r:id="rId5"/>
    <p:sldId id="273" r:id="rId6"/>
    <p:sldId id="266" r:id="rId7"/>
    <p:sldId id="264" r:id="rId8"/>
    <p:sldId id="260" r:id="rId9"/>
    <p:sldId id="259" r:id="rId10"/>
    <p:sldId id="270" r:id="rId11"/>
    <p:sldId id="272" r:id="rId12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5" roundtripDataSignature="AMtx7mhm9BQygXBgTJ2GTFksXcKVEpy+p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451"/>
    <p:restoredTop sz="94669"/>
  </p:normalViewPr>
  <p:slideViewPr>
    <p:cSldViewPr snapToGrid="0">
      <p:cViewPr>
        <p:scale>
          <a:sx n="120" d="100"/>
          <a:sy n="120" d="100"/>
        </p:scale>
        <p:origin x="640" y="-1080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customschemas.google.com/relationships/presentationmetadata" Target="metadata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0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69610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6" name="Google Shape;46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47" name="Google Shape;47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70" name="Google Shape;70;p8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1" name="Google Shape;71;p8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2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913685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70" name="Google Shape;70;p8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1" name="Google Shape;71;p8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3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637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70" name="Google Shape;70;p8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1" name="Google Shape;71;p8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4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153947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77" name="Google Shape;177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84" name="Google Shape;84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85" name="Google Shape;85;p3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7</a:t>
            </a:fld>
            <a:endParaRPr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414045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0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10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10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10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10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10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090EA65-0D7D-DF4B-8E03-70CC2AF9142E}"/>
              </a:ext>
            </a:extLst>
          </p:cNvPr>
          <p:cNvSpPr txBox="1"/>
          <p:nvPr userDrawn="1"/>
        </p:nvSpPr>
        <p:spPr>
          <a:xfrm>
            <a:off x="7516167" y="158750"/>
            <a:ext cx="12738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Castellar" panose="020F0502020204030204" pitchFamily="34" charset="0"/>
                <a:cs typeface="Castellar" panose="020F0502020204030204" pitchFamily="34" charset="0"/>
              </a:rPr>
              <a:t>EM</a:t>
            </a:r>
          </a:p>
          <a:p>
            <a:r>
              <a:rPr lang="en-US" dirty="0">
                <a:latin typeface="Kalinga" panose="020B0604020202020204" pitchFamily="34" charset="0"/>
                <a:cs typeface="Kalinga" panose="020B0604020202020204" pitchFamily="34" charset="0"/>
              </a:rPr>
              <a:t>analytic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1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1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11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1_Title 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45020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4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type="tx">
  <p:cSld name="TITLE_AND_BOD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5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5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3714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marL="1371600" lvl="2" indent="-36576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marL="1828800" lvl="3" indent="-36576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marL="2286000" lvl="4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marL="2743200" lvl="5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marL="3200400" lvl="6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marL="3657600" lvl="7" indent="-33032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marL="4114800" lvl="8" indent="-33032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9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r:id="rId6" imgW="158750" imgH="158750" progId="TCLayout.ActiveDocument.1">
                  <p:embed/>
                </p:oleObj>
              </mc:Choice>
              <mc:Fallback>
                <p:oleObj r:id="rId6" imgW="158750" imgH="158750" progId="TCLayout.ActiveDocument.1">
                  <p:embed/>
                  <p:pic>
                    <p:nvPicPr>
                      <p:cNvPr id="8" name="Google Shape;8;p9"/>
                      <p:cNvPicPr preferRelativeResize="0"/>
                      <p:nvPr/>
                    </p:nvPicPr>
                    <p:blipFill rotWithShape="1">
                      <a:blip r:embed="rId7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9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9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9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2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69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29"/>
              <a:buFont typeface="Arial"/>
              <a:buChar char="▪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181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–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181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▫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2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12"/>
          <p:cNvSpPr txBox="1"/>
          <p:nvPr/>
        </p:nvSpPr>
        <p:spPr>
          <a:xfrm>
            <a:off x="8671366" y="6503196"/>
            <a:ext cx="118623" cy="117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64"/>
              <a:buFont typeface="Arial"/>
              <a:buNone/>
            </a:pPr>
            <a:fld id="{00000000-1234-1234-1234-123412341234}" type="slidenum">
              <a:rPr lang="en-US" sz="76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764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8;p12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huffpost.com/entry/covid-19-population-density-myth_n_5ff8c68fc5b63642b6fba9eb" TargetMode="External"/><Relationship Id="rId3" Type="http://schemas.openxmlformats.org/officeDocument/2006/relationships/hyperlink" Target="https://pubmed.ncbi.nlm.nih.gov/22239747/" TargetMode="External"/><Relationship Id="rId7" Type="http://schemas.openxmlformats.org/officeDocument/2006/relationships/hyperlink" Target="https://www.scientificamerican.com/article/population-density-does-not-doom-cities-to-pandemic-dangers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www.pewresearch.org/fact-tank/2020/09/29/increasing-share-of-americans-favor-a-single-government-program-to-provide-health-care-coverage/" TargetMode="External"/><Relationship Id="rId5" Type="http://schemas.openxmlformats.org/officeDocument/2006/relationships/hyperlink" Target="https://www.kff.org/uninsured/issue-brief/key-facts-about-the-uninsured-population/" TargetMode="External"/><Relationship Id="rId4" Type="http://schemas.openxmlformats.org/officeDocument/2006/relationships/hyperlink" Target="https://www.penguinrandomhouse.com/books/564989/the-sum-of-us-by-heather-mcghee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bit.ly/3mKbdoo" TargetMode="External"/><Relationship Id="rId3" Type="http://schemas.openxmlformats.org/officeDocument/2006/relationships/notesSlide" Target="../notesSlides/notesSlide2.xml"/><Relationship Id="rId7" Type="http://schemas.openxmlformats.org/officeDocument/2006/relationships/hyperlink" Target="https://www.kaggle.com/johnjdavisiv/us-counties-covid19-weather-sociohealth-data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11" Type="http://schemas.openxmlformats.org/officeDocument/2006/relationships/image" Target="../media/image3.png"/><Relationship Id="rId5" Type="http://schemas.openxmlformats.org/officeDocument/2006/relationships/image" Target="../media/image1.png"/><Relationship Id="rId10" Type="http://schemas.openxmlformats.org/officeDocument/2006/relationships/hyperlink" Target="https://tabsoft.co/3dYTbuA" TargetMode="External"/><Relationship Id="rId4" Type="http://schemas.openxmlformats.org/officeDocument/2006/relationships/oleObject" Target="../embeddings/oleObject4.bin"/><Relationship Id="rId9" Type="http://schemas.openxmlformats.org/officeDocument/2006/relationships/hyperlink" Target="https://bit.ly/3wYWc71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bit.ly/3wYWc71" TargetMode="External"/><Relationship Id="rId4" Type="http://schemas.openxmlformats.org/officeDocument/2006/relationships/hyperlink" Target="https://bit.ly/3mKbdoo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hyperlink" Target="https://bit.ly/3mKbdoo" TargetMode="External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png"/><Relationship Id="rId5" Type="http://schemas.openxmlformats.org/officeDocument/2006/relationships/hyperlink" Target="https://www.commonwealthfund.org/publications/newsletter-article/2021/jan/medical-mistrust-among-black-americans" TargetMode="External"/><Relationship Id="rId10" Type="http://schemas.openxmlformats.org/officeDocument/2006/relationships/image" Target="../media/image9.png"/><Relationship Id="rId4" Type="http://schemas.openxmlformats.org/officeDocument/2006/relationships/hyperlink" Target="https://bit.ly/3wYWc71" TargetMode="External"/><Relationship Id="rId9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bit.ly/3wYWc71" TargetMode="External"/><Relationship Id="rId5" Type="http://schemas.openxmlformats.org/officeDocument/2006/relationships/hyperlink" Target="https://bit.ly/3mKbdoo" TargetMode="Externa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hyperlink" Target="https://ephtracking.cdc.gov/DataExplorer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nguinrandomhouse.com/books/564989/the-sum-of-us-by-heather-mcghee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www.commonwealthfund.org/publications/newsletter-article/2021/jan/medical-mistrust-among-black-americans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ountyhealthrankings.org/" TargetMode="External"/><Relationship Id="rId3" Type="http://schemas.openxmlformats.org/officeDocument/2006/relationships/hyperlink" Target="https://www.kaggle.com/johnjdavisiv/us-counties-covid19-weather-sociohealth-data" TargetMode="External"/><Relationship Id="rId7" Type="http://schemas.openxmlformats.org/officeDocument/2006/relationships/hyperlink" Target="https://www.kff.org/policy-watch/stay-at-home-orders-to-fight-covid19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github.com/nytimes/covid-19-data" TargetMode="External"/><Relationship Id="rId5" Type="http://schemas.openxmlformats.org/officeDocument/2006/relationships/hyperlink" Target="https://ephtracking.cdc.gov/DataExplorer/" TargetMode="External"/><Relationship Id="rId10" Type="http://schemas.openxmlformats.org/officeDocument/2006/relationships/hyperlink" Target="https://www.commonwealthfund.org/publications/newsletter-article/2021/jan/medical-mistrust-among-black-americans" TargetMode="External"/><Relationship Id="rId4" Type="http://schemas.openxmlformats.org/officeDocument/2006/relationships/hyperlink" Target="https://www.cdc.gov/nchs/covid19/covid-19-mortality-data-files.htm" TargetMode="External"/><Relationship Id="rId9" Type="http://schemas.openxmlformats.org/officeDocument/2006/relationships/hyperlink" Target="https://www.ncbi.nlm.nih.gov/pmc/articles/PMC7335648/#:~:text=Among%20COVID-19%20patients%2C%20elderly,respectively%20%5B5%2C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4" y="3475206"/>
            <a:ext cx="7368890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AU" dirty="0"/>
              <a:t>COVID Deaths &amp; Societal Factors</a:t>
            </a:r>
            <a:r>
              <a:rPr lang="en-US" dirty="0"/>
              <a:t>– Executive Presentation</a:t>
            </a:r>
            <a:endParaRPr dirty="0"/>
          </a:p>
        </p:txBody>
      </p:sp>
      <p:sp>
        <p:nvSpPr>
          <p:cNvPr id="42" name="Google Shape;42;p1"/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April 9, 2021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Elizabeth Miller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Sources, continued</a:t>
            </a:r>
            <a:endParaRPr dirty="0"/>
          </a:p>
        </p:txBody>
      </p:sp>
      <p:cxnSp>
        <p:nvCxnSpPr>
          <p:cNvPr id="115" name="Google Shape;115;p6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AC7A40C4-9D99-0546-9CF8-1C2D0A600D9F}"/>
              </a:ext>
            </a:extLst>
          </p:cNvPr>
          <p:cNvSpPr txBox="1"/>
          <p:nvPr/>
        </p:nvSpPr>
        <p:spPr>
          <a:xfrm>
            <a:off x="369844" y="1094282"/>
            <a:ext cx="8087462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Undertreatment for pain</a:t>
            </a:r>
          </a:p>
          <a:p>
            <a:r>
              <a:rPr lang="en-US" sz="1200" dirty="0">
                <a:hlinkClick r:id="rId3"/>
              </a:rPr>
              <a:t>https://pubmed.ncbi.nlm.nih.gov/22239747/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>
                <a:hlinkClick r:id="rId4"/>
              </a:rPr>
              <a:t>McGhee, Heather. _The Sum of Us: What Racism Costs Everyone and How We Can Prosper Together._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Kaiser Family Foundation: uninsured statistics</a:t>
            </a:r>
          </a:p>
          <a:p>
            <a:r>
              <a:rPr lang="en-US" sz="1200" dirty="0">
                <a:hlinkClick r:id="rId5"/>
              </a:rPr>
              <a:t>https://www.kff.org/uninsured/issue-brief/key-facts-about-the-uninsured-population/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Pew Research 63% of US thinks there should be one government program that provides health care coverage</a:t>
            </a:r>
          </a:p>
          <a:p>
            <a:r>
              <a:rPr lang="en-US" sz="1200" dirty="0">
                <a:hlinkClick r:id="rId6"/>
              </a:rPr>
              <a:t>https://www.pewresearch.org/fact-tank/2020/09/29/increasing-share-of-americans-favor-a-single-government-program-to-provide-health-care-coverage/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Population density has not been connected to COVID death rate</a:t>
            </a:r>
          </a:p>
          <a:p>
            <a:r>
              <a:rPr lang="en-US" sz="1200" dirty="0">
                <a:hlinkClick r:id="rId7"/>
              </a:rPr>
              <a:t>https://www.scientificamerican.com/article/population-density-does-not-doom-cities-to-pandemic-dangers/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>
                <a:hlinkClick r:id="rId8"/>
              </a:rPr>
              <a:t>https://www.huffpost.com/entry/covid-19-population-density-myth_n_5ff8c68fc5b63642b6fba9eb</a:t>
            </a:r>
            <a:endParaRPr lang="en-US" sz="1200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85939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Google Shape;50;p2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0" r:id="rId4" imgW="1587" imgH="1587" progId="TCLayout.ActiveDocument.1">
                  <p:embed/>
                </p:oleObj>
              </mc:Choice>
              <mc:Fallback>
                <p:oleObj r:id="rId4" imgW="1587" imgH="1587" progId="TCLayout.ActiveDocument.1">
                  <p:embed/>
                  <p:pic>
                    <p:nvPicPr>
                      <p:cNvPr id="50" name="Google Shape;50;p2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2"/>
          <p:cNvSpPr txBox="1">
            <a:spLocks noGrp="1"/>
          </p:cNvSpPr>
          <p:nvPr>
            <p:ph type="title"/>
          </p:nvPr>
        </p:nvSpPr>
        <p:spPr>
          <a:xfrm>
            <a:off x="171439" y="166963"/>
            <a:ext cx="8755704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dirty="0"/>
              <a:t>Executive Summary: Which societal factors correlate with COVID death rate in US counties and have value in predicting the geographical areas where most help is needed?</a:t>
            </a:r>
            <a:endParaRPr dirty="0"/>
          </a:p>
        </p:txBody>
      </p:sp>
      <p:sp>
        <p:nvSpPr>
          <p:cNvPr id="67" name="Google Shape;67;p2"/>
          <p:cNvSpPr txBox="1"/>
          <p:nvPr/>
        </p:nvSpPr>
        <p:spPr>
          <a:xfrm>
            <a:off x="4414697" y="1030468"/>
            <a:ext cx="4512446" cy="2220946"/>
          </a:xfrm>
          <a:prstGeom prst="rect">
            <a:avLst/>
          </a:prstGeom>
          <a:solidFill>
            <a:srgbClr val="FBC14E">
              <a:alpha val="338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</a:pPr>
            <a:r>
              <a:rPr lang="en-US" sz="1100" b="1" dirty="0"/>
              <a:t>In the dataset</a:t>
            </a:r>
            <a:r>
              <a:rPr lang="en-US" sz="1100" b="1" baseline="30000" dirty="0"/>
              <a:t>1</a:t>
            </a:r>
            <a:r>
              <a:rPr lang="en-US" sz="1100" b="1" dirty="0"/>
              <a:t>, societal factors most strongly correlated with COVID death rate in US counties were percent of population:</a:t>
            </a:r>
          </a:p>
          <a:p>
            <a:pPr marL="50800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Without a high school diploma</a:t>
            </a:r>
          </a:p>
          <a:p>
            <a:pPr marL="50800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Black American</a:t>
            </a:r>
          </a:p>
          <a:p>
            <a:pPr marL="50800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Fair or poor health status</a:t>
            </a:r>
          </a:p>
          <a:p>
            <a:pPr marL="50800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Children in poverty</a:t>
            </a:r>
          </a:p>
          <a:p>
            <a:pPr marL="50800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Non-Hispanic white (negative correlation)</a:t>
            </a:r>
          </a:p>
          <a:p>
            <a:pPr marL="15875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</a:pPr>
            <a:r>
              <a:rPr lang="en-US" sz="1100" dirty="0"/>
              <a:t>Most of the counties with COVID death rates greater than 0.37%, shown in red below, are in the south region, where higher percentages of the population fall into the top four attributes above.</a:t>
            </a:r>
            <a:endParaRPr sz="11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1" dirty="0">
              <a:latin typeface="Roboto"/>
              <a:ea typeface="Roboto"/>
              <a:cs typeface="Roboto"/>
              <a:sym typeface="Roboto"/>
            </a:endParaRPr>
          </a:p>
        </p:txBody>
      </p:sp>
      <p:pic>
        <p:nvPicPr>
          <p:cNvPr id="11" name="Picture 10" descr="Table&#10;&#10;Description automatically generated">
            <a:extLst>
              <a:ext uri="{FF2B5EF4-FFF2-40B4-BE49-F238E27FC236}">
                <a16:creationId xmlns:a16="http://schemas.microsoft.com/office/drawing/2014/main" id="{DDCF8B46-4320-604A-8DBE-5A5F491C90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439" y="1157975"/>
            <a:ext cx="4108380" cy="2083960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BB68FC1E-3671-7D49-9D02-EC66BD1C9118}"/>
              </a:ext>
            </a:extLst>
          </p:cNvPr>
          <p:cNvSpPr txBox="1"/>
          <p:nvPr/>
        </p:nvSpPr>
        <p:spPr>
          <a:xfrm>
            <a:off x="6215574" y="5576469"/>
            <a:ext cx="274586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baseline="30000" dirty="0">
                <a:solidFill>
                  <a:srgbClr val="002060"/>
                </a:solidFill>
                <a:latin typeface="Quattrocento Sans"/>
                <a:sym typeface="Quattrocento Sans"/>
                <a:hlinkClick r:id="rId7"/>
              </a:rPr>
              <a:t>1</a:t>
            </a:r>
            <a:r>
              <a:rPr lang="en-US" sz="1000" dirty="0"/>
              <a:t> </a:t>
            </a:r>
            <a:r>
              <a:rPr lang="en-US" sz="1000" dirty="0">
                <a:hlinkClick r:id="rId8"/>
              </a:rPr>
              <a:t>https://bit.ly/3mKbdoo</a:t>
            </a:r>
            <a:r>
              <a:rPr lang="en-US" sz="1000" dirty="0"/>
              <a:t>, </a:t>
            </a:r>
            <a:r>
              <a:rPr lang="en-US" sz="1000" dirty="0">
                <a:hlinkClick r:id="rId9"/>
              </a:rPr>
              <a:t>https://</a:t>
            </a:r>
            <a:r>
              <a:rPr lang="en-US" sz="1000" dirty="0" err="1">
                <a:hlinkClick r:id="rId9"/>
              </a:rPr>
              <a:t>bit.ly</a:t>
            </a:r>
            <a:r>
              <a:rPr lang="en-US" sz="1000" dirty="0">
                <a:hlinkClick r:id="rId9"/>
              </a:rPr>
              <a:t>/3wYWc71</a:t>
            </a:r>
            <a:br>
              <a:rPr lang="en-US" sz="1000" dirty="0"/>
            </a:br>
            <a:endParaRPr lang="en-US" sz="1000" dirty="0"/>
          </a:p>
          <a:p>
            <a:r>
              <a:rPr lang="en-AU" sz="1000" b="1" baseline="30000" dirty="0">
                <a:solidFill>
                  <a:srgbClr val="002060"/>
                </a:solidFill>
                <a:latin typeface="Quattrocento Sans"/>
                <a:sym typeface="Quattrocento Sans"/>
              </a:rPr>
              <a:t>2</a:t>
            </a:r>
            <a:r>
              <a:rPr lang="en-AU" sz="1000" b="1" dirty="0">
                <a:solidFill>
                  <a:srgbClr val="002060"/>
                </a:solidFill>
                <a:latin typeface="Quattrocento Sans"/>
                <a:sym typeface="Quattrocento Sans"/>
              </a:rPr>
              <a:t>Latest date COVID data collected: 12/4/2020</a:t>
            </a:r>
          </a:p>
          <a:p>
            <a:r>
              <a:rPr lang="en-AU" sz="1000" b="1" baseline="30000" dirty="0">
                <a:solidFill>
                  <a:srgbClr val="002060"/>
                </a:solidFill>
                <a:latin typeface="Quattrocento Sans"/>
                <a:sym typeface="Quattrocento Sans"/>
              </a:rPr>
              <a:t>3</a:t>
            </a:r>
            <a:r>
              <a:rPr lang="en-AU" sz="1000" b="1" dirty="0">
                <a:solidFill>
                  <a:srgbClr val="002060"/>
                </a:solidFill>
                <a:latin typeface="Quattrocento Sans"/>
                <a:sym typeface="Quattrocento Sans"/>
              </a:rPr>
              <a:t>AK, HI:  </a:t>
            </a:r>
            <a:r>
              <a:rPr lang="en-AU" sz="1000" b="1" dirty="0">
                <a:solidFill>
                  <a:srgbClr val="002060"/>
                </a:solidFill>
                <a:latin typeface="Quattrocento Sans"/>
                <a:sym typeface="Quattrocento Sans"/>
                <a:hlinkClick r:id="rId10"/>
              </a:rPr>
              <a:t>https://</a:t>
            </a:r>
            <a:r>
              <a:rPr lang="en-AU" sz="1000" b="1" dirty="0" err="1">
                <a:solidFill>
                  <a:srgbClr val="002060"/>
                </a:solidFill>
                <a:latin typeface="Quattrocento Sans"/>
                <a:sym typeface="Quattrocento Sans"/>
                <a:hlinkClick r:id="rId10"/>
              </a:rPr>
              <a:t>tabsoft.co</a:t>
            </a:r>
            <a:r>
              <a:rPr lang="en-AU" sz="1000" b="1" dirty="0">
                <a:solidFill>
                  <a:srgbClr val="002060"/>
                </a:solidFill>
                <a:latin typeface="Quattrocento Sans"/>
                <a:sym typeface="Quattrocento Sans"/>
                <a:hlinkClick r:id="rId10"/>
              </a:rPr>
              <a:t>/3dYTbuA</a:t>
            </a:r>
            <a:endParaRPr lang="en-AU" sz="1000" b="1" dirty="0">
              <a:solidFill>
                <a:srgbClr val="002060"/>
              </a:solidFill>
              <a:latin typeface="Quattrocento Sans"/>
              <a:sym typeface="Quattrocento Sans"/>
            </a:endParaRPr>
          </a:p>
        </p:txBody>
      </p:sp>
      <p:pic>
        <p:nvPicPr>
          <p:cNvPr id="22" name="Picture 21" descr="Background pattern, map&#10;&#10;Description automatically generated">
            <a:extLst>
              <a:ext uri="{FF2B5EF4-FFF2-40B4-BE49-F238E27FC236}">
                <a16:creationId xmlns:a16="http://schemas.microsoft.com/office/drawing/2014/main" id="{001C02C3-928A-184E-806E-0A42C5A7FD1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71439" y="3479539"/>
            <a:ext cx="6013913" cy="319221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7063566-2B85-8B4A-9009-A257531B2392}"/>
              </a:ext>
            </a:extLst>
          </p:cNvPr>
          <p:cNvSpPr txBox="1"/>
          <p:nvPr/>
        </p:nvSpPr>
        <p:spPr>
          <a:xfrm>
            <a:off x="4951338" y="5672219"/>
            <a:ext cx="1048589" cy="8822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Death rate due to COVID in US counties</a:t>
            </a:r>
            <a:r>
              <a:rPr lang="en-US" sz="1100" baseline="30000" dirty="0">
                <a:solidFill>
                  <a:schemeClr val="tx1"/>
                </a:solidFill>
              </a:rPr>
              <a:t>2,3</a:t>
            </a:r>
          </a:p>
          <a:p>
            <a:endParaRPr lang="en-US" sz="1100" baseline="30000" dirty="0">
              <a:solidFill>
                <a:schemeClr val="tx1"/>
              </a:solidFill>
            </a:endParaRPr>
          </a:p>
        </p:txBody>
      </p:sp>
      <p:sp>
        <p:nvSpPr>
          <p:cNvPr id="43" name="Google Shape;64;p2">
            <a:extLst>
              <a:ext uri="{FF2B5EF4-FFF2-40B4-BE49-F238E27FC236}">
                <a16:creationId xmlns:a16="http://schemas.microsoft.com/office/drawing/2014/main" id="{41F82A05-20C9-C74B-8D41-AD2CD4CB40D7}"/>
              </a:ext>
            </a:extLst>
          </p:cNvPr>
          <p:cNvSpPr txBox="1"/>
          <p:nvPr/>
        </p:nvSpPr>
        <p:spPr>
          <a:xfrm>
            <a:off x="6244441" y="4099182"/>
            <a:ext cx="2682702" cy="1477287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+mj-lt"/>
              <a:buAutoNum type="arabicPeriod"/>
            </a:pPr>
            <a:r>
              <a:rPr lang="en-US" sz="1000" b="1" dirty="0">
                <a:solidFill>
                  <a:schemeClr val="dk1"/>
                </a:solidFill>
              </a:rPr>
              <a:t>Healthcare and policy to redress the persistent effects of s</a:t>
            </a: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ructural and institutional racism</a:t>
            </a:r>
          </a:p>
          <a:p>
            <a: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+mj-lt"/>
              <a:buAutoNum type="arabicPeriod"/>
            </a:pPr>
            <a:endParaRPr sz="10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+mj-lt"/>
              <a:buAutoNum type="arabicPeriod"/>
            </a:pPr>
            <a:r>
              <a:rPr lang="en-US" sz="1000" b="1" dirty="0">
                <a:solidFill>
                  <a:schemeClr val="dk1"/>
                </a:solidFill>
              </a:rPr>
              <a:t>Family and community services to support youth in finishing schoo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921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+mj-lt"/>
              <a:buAutoNum type="arabicPeriod"/>
            </a:pPr>
            <a:endParaRPr sz="10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+mj-lt"/>
              <a:buAutoNum type="arabicPeriod"/>
            </a:pPr>
            <a:r>
              <a:rPr lang="en-US" sz="1000" b="1" dirty="0">
                <a:solidFill>
                  <a:schemeClr val="dk1"/>
                </a:solidFill>
              </a:rPr>
              <a:t>Ready access for all to nutritious food and healthcar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Google Shape;66;p2">
            <a:extLst>
              <a:ext uri="{FF2B5EF4-FFF2-40B4-BE49-F238E27FC236}">
                <a16:creationId xmlns:a16="http://schemas.microsoft.com/office/drawing/2014/main" id="{0EF69E41-16A0-D343-807E-FF7F28B77044}"/>
              </a:ext>
            </a:extLst>
          </p:cNvPr>
          <p:cNvSpPr/>
          <p:nvPr/>
        </p:nvSpPr>
        <p:spPr>
          <a:xfrm>
            <a:off x="6244441" y="3582602"/>
            <a:ext cx="2682702" cy="44038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Long-Term Viability and Productivity of Our Nation Depend On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15C8BA-28C7-1343-AA77-FAC30A3D4086}"/>
              </a:ext>
            </a:extLst>
          </p:cNvPr>
          <p:cNvSpPr txBox="1"/>
          <p:nvPr/>
        </p:nvSpPr>
        <p:spPr>
          <a:xfrm>
            <a:off x="3414096" y="1230523"/>
            <a:ext cx="920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Coeffici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BC152E-49B4-BA47-A1A2-C1EF71E29404}"/>
              </a:ext>
            </a:extLst>
          </p:cNvPr>
          <p:cNvSpPr txBox="1"/>
          <p:nvPr/>
        </p:nvSpPr>
        <p:spPr>
          <a:xfrm>
            <a:off x="2168547" y="1030468"/>
            <a:ext cx="2166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Correlation with COVID death rate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8"/>
          <p:cNvSpPr txBox="1">
            <a:spLocks noGrp="1"/>
          </p:cNvSpPr>
          <p:nvPr>
            <p:ph type="title"/>
          </p:nvPr>
        </p:nvSpPr>
        <p:spPr>
          <a:xfrm>
            <a:off x="187468" y="241824"/>
            <a:ext cx="858650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800" dirty="0">
                <a:solidFill>
                  <a:schemeClr val="accent3"/>
                </a:solidFill>
              </a:rPr>
              <a:t>Among the categories of societal factors examined, the racial percentages of counties account for three of the five strongest predictors of COVID death rate.</a:t>
            </a:r>
            <a:endParaRPr sz="1800" dirty="0">
              <a:solidFill>
                <a:schemeClr val="accent3"/>
              </a:solidFill>
            </a:endParaRPr>
          </a:p>
        </p:txBody>
      </p:sp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F95D1CE-7953-DF46-9068-57CAE22515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224" r="1" b="36510"/>
          <a:stretch/>
        </p:blipFill>
        <p:spPr>
          <a:xfrm>
            <a:off x="1250066" y="1965417"/>
            <a:ext cx="2298730" cy="2866137"/>
          </a:xfrm>
          <a:prstGeom prst="rect">
            <a:avLst/>
          </a:prstGeom>
        </p:spPr>
      </p:pic>
      <p:sp>
        <p:nvSpPr>
          <p:cNvPr id="11" name="Google Shape;67;p2">
            <a:extLst>
              <a:ext uri="{FF2B5EF4-FFF2-40B4-BE49-F238E27FC236}">
                <a16:creationId xmlns:a16="http://schemas.microsoft.com/office/drawing/2014/main" id="{8E7682A0-7F4B-7B45-9BD0-D40EFF66E3D5}"/>
              </a:ext>
            </a:extLst>
          </p:cNvPr>
          <p:cNvSpPr txBox="1"/>
          <p:nvPr/>
        </p:nvSpPr>
        <p:spPr>
          <a:xfrm>
            <a:off x="4195775" y="1673314"/>
            <a:ext cx="4512446" cy="1131198"/>
          </a:xfrm>
          <a:prstGeom prst="rect">
            <a:avLst/>
          </a:prstGeom>
          <a:solidFill>
            <a:srgbClr val="FBC14E">
              <a:alpha val="338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330200" lvl="0" indent="-171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b="1" dirty="0"/>
              <a:t>Percent Black population links relatively strongly with COVID death rate.</a:t>
            </a:r>
          </a:p>
          <a:p>
            <a:pPr marL="330200" lvl="0" indent="-171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b="1" dirty="0"/>
              <a:t>Percent minorities follows close behind.</a:t>
            </a:r>
          </a:p>
          <a:p>
            <a:pPr marL="330200" lvl="0" indent="-171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b="1" dirty="0"/>
              <a:t>Counties with higher percentage white residents have a tendency toward lower COVID death rates.</a:t>
            </a:r>
          </a:p>
          <a:p>
            <a:pPr marL="15875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</a:pPr>
            <a:endParaRPr lang="en-US" sz="1100" b="1" dirty="0"/>
          </a:p>
        </p:txBody>
      </p:sp>
      <p:sp>
        <p:nvSpPr>
          <p:cNvPr id="12" name="Google Shape;67;p2">
            <a:extLst>
              <a:ext uri="{FF2B5EF4-FFF2-40B4-BE49-F238E27FC236}">
                <a16:creationId xmlns:a16="http://schemas.microsoft.com/office/drawing/2014/main" id="{C13157D5-C6D5-0342-BFBD-FB5DC3E76FC8}"/>
              </a:ext>
            </a:extLst>
          </p:cNvPr>
          <p:cNvSpPr txBox="1"/>
          <p:nvPr/>
        </p:nvSpPr>
        <p:spPr>
          <a:xfrm>
            <a:off x="4195775" y="3677532"/>
            <a:ext cx="4512446" cy="1131198"/>
          </a:xfrm>
          <a:prstGeom prst="rect">
            <a:avLst/>
          </a:prstGeom>
          <a:solidFill>
            <a:srgbClr val="FBC14E">
              <a:alpha val="338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>
              <a:lnSpc>
                <a:spcPct val="115000"/>
              </a:lnSpc>
              <a:buSzPct val="150000"/>
            </a:pPr>
            <a:r>
              <a:rPr lang="en-US" sz="1100" b="1" dirty="0"/>
              <a:t>Percent Black accounts for most of the percent minorities correlation:​</a:t>
            </a:r>
          </a:p>
          <a:p>
            <a:pPr marL="330200" indent="-171450">
              <a:lnSpc>
                <a:spcPct val="115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100" b="1" dirty="0"/>
              <a:t>Percent Latinx (Hispanic) makeup of counties is shown to correlate with COVID death rate at a mild 0.15; other races at almost 0.</a:t>
            </a:r>
            <a:endParaRPr lang="en-US" b="1" dirty="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7BD0C7-366C-FB46-854A-908308E9C645}"/>
              </a:ext>
            </a:extLst>
          </p:cNvPr>
          <p:cNvSpPr txBox="1"/>
          <p:nvPr/>
        </p:nvSpPr>
        <p:spPr>
          <a:xfrm>
            <a:off x="125623" y="6324600"/>
            <a:ext cx="627517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s: </a:t>
            </a:r>
            <a:r>
              <a:rPr lang="en-US" sz="1000" dirty="0">
                <a:hlinkClick r:id="rId4"/>
              </a:rPr>
              <a:t>https://bit.ly/3mKbdoo</a:t>
            </a:r>
            <a:r>
              <a:rPr lang="en-US" sz="1000" dirty="0"/>
              <a:t>, </a:t>
            </a:r>
            <a:r>
              <a:rPr lang="en-US" sz="1000" dirty="0">
                <a:hlinkClick r:id="rId5"/>
              </a:rPr>
              <a:t>https://bit.ly/3wYWc71</a:t>
            </a:r>
            <a:endParaRPr lang="en-US" sz="1000" dirty="0"/>
          </a:p>
          <a:p>
            <a:endParaRPr lang="en-US" sz="1000" dirty="0"/>
          </a:p>
          <a:p>
            <a:endParaRPr lang="en-US" sz="10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A1C88D-442F-F24F-8059-2377F1289A2F}"/>
              </a:ext>
            </a:extLst>
          </p:cNvPr>
          <p:cNvSpPr txBox="1"/>
          <p:nvPr/>
        </p:nvSpPr>
        <p:spPr>
          <a:xfrm>
            <a:off x="2802980" y="1673314"/>
            <a:ext cx="920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effici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562CBE5-4603-074D-8421-122035127A29}"/>
              </a:ext>
            </a:extLst>
          </p:cNvPr>
          <p:cNvSpPr txBox="1"/>
          <p:nvPr/>
        </p:nvSpPr>
        <p:spPr>
          <a:xfrm>
            <a:off x="1483808" y="1476512"/>
            <a:ext cx="2166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rrelation with COVID death rate</a:t>
            </a:r>
          </a:p>
        </p:txBody>
      </p:sp>
    </p:spTree>
    <p:extLst>
      <p:ext uri="{BB962C8B-B14F-4D97-AF65-F5344CB8AC3E}">
        <p14:creationId xmlns:p14="http://schemas.microsoft.com/office/powerpoint/2010/main" val="39726832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8"/>
          <p:cNvSpPr txBox="1">
            <a:spLocks noGrp="1"/>
          </p:cNvSpPr>
          <p:nvPr>
            <p:ph type="title"/>
          </p:nvPr>
        </p:nvSpPr>
        <p:spPr>
          <a:xfrm>
            <a:off x="187468" y="241824"/>
            <a:ext cx="858650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1800" dirty="0">
                <a:solidFill>
                  <a:schemeClr val="accent3"/>
                </a:solidFill>
              </a:rPr>
              <a:t>Structural racism persists: many counties with comparatively high COVID death rates have higher Black populations and lower white ones.</a:t>
            </a:r>
            <a:r>
              <a:rPr lang="en-US" sz="1800" baseline="30000" dirty="0">
                <a:solidFill>
                  <a:schemeClr val="accent3"/>
                </a:solidFill>
              </a:rPr>
              <a:t>1</a:t>
            </a:r>
            <a:endParaRPr sz="1800" baseline="30000" dirty="0">
              <a:solidFill>
                <a:schemeClr val="accent3"/>
              </a:solidFill>
            </a:endParaRPr>
          </a:p>
        </p:txBody>
      </p:sp>
      <p:sp>
        <p:nvSpPr>
          <p:cNvPr id="14" name="Google Shape;81;p8">
            <a:extLst>
              <a:ext uri="{FF2B5EF4-FFF2-40B4-BE49-F238E27FC236}">
                <a16:creationId xmlns:a16="http://schemas.microsoft.com/office/drawing/2014/main" id="{3A26340E-1288-FD46-8D55-01E9F3C6BC53}"/>
              </a:ext>
            </a:extLst>
          </p:cNvPr>
          <p:cNvSpPr txBox="1"/>
          <p:nvPr/>
        </p:nvSpPr>
        <p:spPr>
          <a:xfrm>
            <a:off x="5397498" y="889242"/>
            <a:ext cx="2577269" cy="4194570"/>
          </a:xfrm>
          <a:prstGeom prst="rect">
            <a:avLst/>
          </a:prstGeom>
          <a:solidFill>
            <a:srgbClr val="FBC14E">
              <a:alpha val="4000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-US" b="1" dirty="0"/>
              <a:t>Maps are filtered for </a:t>
            </a:r>
            <a:r>
              <a:rPr lang="en-US" sz="1100" dirty="0"/>
              <a:t>COVID death rate of 0.2% or more</a:t>
            </a:r>
            <a:r>
              <a:rPr lang="en-US" sz="1100" b="1" dirty="0"/>
              <a:t>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 dirty="0"/>
          </a:p>
          <a:p>
            <a:pPr marL="298450" lvl="0" indent="-13970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 dirty="0"/>
              <a:t>Not all counties with higher death rates (larger circles) have a higher percent Black population, but many do, and they are in the south region.</a:t>
            </a:r>
            <a:br>
              <a:rPr lang="en-US" sz="1100" dirty="0"/>
            </a:br>
            <a:endParaRPr lang="en-US" sz="1100" dirty="0"/>
          </a:p>
          <a:p>
            <a:pPr marL="298450" lvl="0" indent="-13970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 dirty="0"/>
              <a:t>Some counties with the highest death rates (larger circles) are also a high percentage white. However, most of the counties in the upper range of COVID death rate have a lower percentage of white residents (south region).</a:t>
            </a:r>
          </a:p>
          <a:p>
            <a:pPr marL="298450" lvl="0" indent="-13970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endParaRPr lang="en-US" sz="1100" dirty="0"/>
          </a:p>
          <a:p>
            <a:pPr marL="298450" lvl="0" indent="-13970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 dirty="0"/>
              <a:t>Counties shown in the southwest have comparatively high percentage Latinx population. This attribute shows a mild (0.15) coefficient of correlation with COVID death rate in the dataset.</a:t>
            </a:r>
          </a:p>
          <a:p>
            <a:pPr marL="298450" lvl="0" indent="-13970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endParaRPr lang="en-US" sz="1100" dirty="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endParaRPr sz="1100" dirty="0"/>
          </a:p>
        </p:txBody>
      </p:sp>
      <p:sp>
        <p:nvSpPr>
          <p:cNvPr id="17" name="Google Shape;64;p2">
            <a:extLst>
              <a:ext uri="{FF2B5EF4-FFF2-40B4-BE49-F238E27FC236}">
                <a16:creationId xmlns:a16="http://schemas.microsoft.com/office/drawing/2014/main" id="{A7841AF5-D42F-D442-B612-BE61F8E1A4D9}"/>
              </a:ext>
            </a:extLst>
          </p:cNvPr>
          <p:cNvSpPr txBox="1"/>
          <p:nvPr/>
        </p:nvSpPr>
        <p:spPr>
          <a:xfrm>
            <a:off x="5397497" y="5374719"/>
            <a:ext cx="2577268" cy="553957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3500"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</a:pPr>
            <a:endParaRPr sz="10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</a:pPr>
            <a:r>
              <a:rPr lang="en-US" sz="1000" b="1" dirty="0">
                <a:solidFill>
                  <a:schemeClr val="dk1"/>
                </a:solidFill>
              </a:rPr>
              <a:t>Focus medical treatment on access and equity, with provider training</a:t>
            </a:r>
            <a:r>
              <a:rPr lang="en-US" sz="1000" b="1" baseline="30000" dirty="0">
                <a:solidFill>
                  <a:schemeClr val="dk1"/>
                </a:solidFill>
              </a:rPr>
              <a:t>2</a:t>
            </a:r>
            <a:endParaRPr sz="1400" b="0" i="0" u="none" strike="noStrike" cap="none" baseline="300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66;p2">
            <a:extLst>
              <a:ext uri="{FF2B5EF4-FFF2-40B4-BE49-F238E27FC236}">
                <a16:creationId xmlns:a16="http://schemas.microsoft.com/office/drawing/2014/main" id="{35C42533-2CAE-0C47-94AF-346C9385C2DC}"/>
              </a:ext>
            </a:extLst>
          </p:cNvPr>
          <p:cNvSpPr/>
          <p:nvPr/>
        </p:nvSpPr>
        <p:spPr>
          <a:xfrm>
            <a:off x="5397499" y="5157547"/>
            <a:ext cx="2577268" cy="222974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dress racial disparit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95BAD6-0E1A-2F43-A716-D6A1CBE97BD2}"/>
              </a:ext>
            </a:extLst>
          </p:cNvPr>
          <p:cNvSpPr/>
          <p:nvPr/>
        </p:nvSpPr>
        <p:spPr>
          <a:xfrm>
            <a:off x="72255" y="6111861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800" baseline="30000" dirty="0">
                <a:solidFill>
                  <a:schemeClr val="accent3"/>
                </a:solidFill>
              </a:rPr>
              <a:t>1 </a:t>
            </a:r>
            <a:r>
              <a:rPr lang="en-US" sz="800" dirty="0">
                <a:hlinkClick r:id="rId3"/>
              </a:rPr>
              <a:t>https://bit.ly/3mKbdoo</a:t>
            </a:r>
            <a:r>
              <a:rPr lang="en-US" sz="800" dirty="0"/>
              <a:t> , </a:t>
            </a:r>
            <a:r>
              <a:rPr lang="en-US" sz="800" dirty="0">
                <a:hlinkClick r:id="rId4"/>
              </a:rPr>
              <a:t>https://bit.ly/3wYWc71</a:t>
            </a:r>
            <a:endParaRPr lang="en-US" sz="800" dirty="0"/>
          </a:p>
          <a:p>
            <a:endParaRPr lang="en-US" sz="8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5E16415-8378-ED4D-B52F-AA31E56E9D3D}"/>
              </a:ext>
            </a:extLst>
          </p:cNvPr>
          <p:cNvSpPr txBox="1"/>
          <p:nvPr/>
        </p:nvSpPr>
        <p:spPr>
          <a:xfrm>
            <a:off x="72255" y="6219583"/>
            <a:ext cx="59465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800" dirty="0"/>
          </a:p>
          <a:p>
            <a:r>
              <a:rPr lang="en-US" sz="800" b="1" baseline="30000" dirty="0">
                <a:solidFill>
                  <a:schemeClr val="dk1"/>
                </a:solidFill>
              </a:rPr>
              <a:t>2</a:t>
            </a:r>
            <a:r>
              <a:rPr lang="en-US" sz="800" dirty="0">
                <a:hlinkClick r:id="rId5"/>
              </a:rPr>
              <a:t>https://www.commonwealthfund.org/publications/newsletter-article/2021/jan/medical-mistrust-among-black-americans</a:t>
            </a:r>
            <a:endParaRPr lang="en-US" sz="800" dirty="0"/>
          </a:p>
          <a:p>
            <a:endParaRPr lang="en-US" sz="800" dirty="0"/>
          </a:p>
        </p:txBody>
      </p:sp>
      <p:pic>
        <p:nvPicPr>
          <p:cNvPr id="8" name="Picture 7" descr="Map&#10;&#10;Description automatically generated with medium confidence">
            <a:extLst>
              <a:ext uri="{FF2B5EF4-FFF2-40B4-BE49-F238E27FC236}">
                <a16:creationId xmlns:a16="http://schemas.microsoft.com/office/drawing/2014/main" id="{E4B4E020-45F2-694D-B55B-B63954E0F1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7468" y="3477880"/>
            <a:ext cx="4604218" cy="2455583"/>
          </a:xfrm>
          <a:prstGeom prst="rect">
            <a:avLst/>
          </a:prstGeom>
        </p:spPr>
      </p:pic>
      <p:pic>
        <p:nvPicPr>
          <p:cNvPr id="13" name="Picture 12" descr="Chart&#10;&#10;Description automatically generated with medium confidence">
            <a:extLst>
              <a:ext uri="{FF2B5EF4-FFF2-40B4-BE49-F238E27FC236}">
                <a16:creationId xmlns:a16="http://schemas.microsoft.com/office/drawing/2014/main" id="{0507A68E-9663-9B42-8099-DE0EA44CAB1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21603" y="5311423"/>
            <a:ext cx="1223074" cy="376975"/>
          </a:xfrm>
          <a:prstGeom prst="rect">
            <a:avLst/>
          </a:prstGeom>
        </p:spPr>
      </p:pic>
      <p:pic>
        <p:nvPicPr>
          <p:cNvPr id="18" name="Picture 17" descr="Map&#10;&#10;Description automatically generated">
            <a:extLst>
              <a:ext uri="{FF2B5EF4-FFF2-40B4-BE49-F238E27FC236}">
                <a16:creationId xmlns:a16="http://schemas.microsoft.com/office/drawing/2014/main" id="{A2FBB616-F5E6-D54D-9282-5BA26906847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0359" y="923379"/>
            <a:ext cx="4604218" cy="2462721"/>
          </a:xfrm>
          <a:prstGeom prst="rect">
            <a:avLst/>
          </a:prstGeom>
        </p:spPr>
      </p:pic>
      <p:pic>
        <p:nvPicPr>
          <p:cNvPr id="10" name="Picture 9" descr="Chart, timeline, treemap chart&#10;&#10;Description automatically generated">
            <a:extLst>
              <a:ext uri="{FF2B5EF4-FFF2-40B4-BE49-F238E27FC236}">
                <a16:creationId xmlns:a16="http://schemas.microsoft.com/office/drawing/2014/main" id="{DA57DED0-970C-8645-B46B-6E451D3A609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477" t="14495" r="5371" b="7004"/>
          <a:stretch/>
        </p:blipFill>
        <p:spPr>
          <a:xfrm>
            <a:off x="3821603" y="2734150"/>
            <a:ext cx="1189804" cy="349837"/>
          </a:xfrm>
          <a:prstGeom prst="rect">
            <a:avLst/>
          </a:prstGeom>
        </p:spPr>
      </p:pic>
      <p:pic>
        <p:nvPicPr>
          <p:cNvPr id="22" name="Picture 21" descr="A picture containing text&#10;&#10;Description automatically generated">
            <a:extLst>
              <a:ext uri="{FF2B5EF4-FFF2-40B4-BE49-F238E27FC236}">
                <a16:creationId xmlns:a16="http://schemas.microsoft.com/office/drawing/2014/main" id="{52B4A33C-7722-F647-BFE4-CC5ACCF845B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52180" y="4102326"/>
            <a:ext cx="679905" cy="1086370"/>
          </a:xfrm>
          <a:prstGeom prst="rect">
            <a:avLst/>
          </a:prstGeom>
        </p:spPr>
      </p:pic>
      <p:pic>
        <p:nvPicPr>
          <p:cNvPr id="24" name="Picture 23" descr="A picture containing text&#10;&#10;Description automatically generated">
            <a:extLst>
              <a:ext uri="{FF2B5EF4-FFF2-40B4-BE49-F238E27FC236}">
                <a16:creationId xmlns:a16="http://schemas.microsoft.com/office/drawing/2014/main" id="{024AB8B9-5CCD-9A41-856F-3018AA22B8E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09215" y="1556000"/>
            <a:ext cx="679905" cy="1086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5877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8"/>
          <p:cNvSpPr txBox="1">
            <a:spLocks noGrp="1"/>
          </p:cNvSpPr>
          <p:nvPr>
            <p:ph type="title"/>
          </p:nvPr>
        </p:nvSpPr>
        <p:spPr>
          <a:xfrm>
            <a:off x="187468" y="241824"/>
            <a:ext cx="858650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1800" dirty="0"/>
              <a:t>Factors related to education, income, and health status also rank as strong predictors of death rate due to COVID.</a:t>
            </a:r>
            <a:r>
              <a:rPr lang="en-US" sz="1800" baseline="30000" dirty="0"/>
              <a:t>1</a:t>
            </a:r>
            <a:endParaRPr sz="1800" baseline="30000" dirty="0">
              <a:solidFill>
                <a:schemeClr val="accent3"/>
              </a:solidFill>
            </a:endParaRPr>
          </a:p>
        </p:txBody>
      </p:sp>
      <p:pic>
        <p:nvPicPr>
          <p:cNvPr id="11" name="Picture 10" descr="Timeline&#10;&#10;Description automatically generated">
            <a:extLst>
              <a:ext uri="{FF2B5EF4-FFF2-40B4-BE49-F238E27FC236}">
                <a16:creationId xmlns:a16="http://schemas.microsoft.com/office/drawing/2014/main" id="{47E27712-6A66-BF4F-9B82-16CD912F942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642" b="17656"/>
          <a:stretch/>
        </p:blipFill>
        <p:spPr>
          <a:xfrm>
            <a:off x="2962429" y="2080718"/>
            <a:ext cx="2359311" cy="4034740"/>
          </a:xfrm>
          <a:prstGeom prst="rect">
            <a:avLst/>
          </a:prstGeom>
        </p:spPr>
      </p:pic>
      <p:pic>
        <p:nvPicPr>
          <p:cNvPr id="3" name="Picture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4347594A-857A-A64D-B87D-A023261F7B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305" y="2063334"/>
            <a:ext cx="2493151" cy="369355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44BEB07-5B5B-B047-BE48-63DAF63B7BB4}"/>
              </a:ext>
            </a:extLst>
          </p:cNvPr>
          <p:cNvSpPr/>
          <p:nvPr/>
        </p:nvSpPr>
        <p:spPr>
          <a:xfrm>
            <a:off x="172475" y="6211363"/>
            <a:ext cx="639342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baseline="30000" dirty="0">
                <a:solidFill>
                  <a:schemeClr val="accent3"/>
                </a:solidFill>
              </a:rPr>
              <a:t>1 </a:t>
            </a:r>
            <a:r>
              <a:rPr lang="en-US" sz="800" dirty="0"/>
              <a:t> </a:t>
            </a:r>
            <a:r>
              <a:rPr lang="en-US" sz="800" dirty="0">
                <a:hlinkClick r:id="rId5"/>
              </a:rPr>
              <a:t>https://bit.ly/3mKbdoo</a:t>
            </a:r>
            <a:r>
              <a:rPr lang="en-US" sz="800" dirty="0"/>
              <a:t> , </a:t>
            </a:r>
            <a:r>
              <a:rPr lang="en-US" sz="800" dirty="0">
                <a:hlinkClick r:id="rId6"/>
              </a:rPr>
              <a:t>https://bit.ly/3wYWc71</a:t>
            </a:r>
            <a:endParaRPr lang="en-US" sz="800" dirty="0"/>
          </a:p>
          <a:p>
            <a:endParaRPr lang="en-US" sz="800" dirty="0"/>
          </a:p>
          <a:p>
            <a:r>
              <a:rPr lang="en-AU" sz="800" b="1" baseline="30000" dirty="0">
                <a:solidFill>
                  <a:srgbClr val="002060"/>
                </a:solidFill>
                <a:latin typeface="Quattrocento Sans"/>
                <a:sym typeface="Quattrocento Sans"/>
              </a:rPr>
              <a:t>2</a:t>
            </a:r>
            <a:r>
              <a:rPr lang="en-US" sz="800" dirty="0"/>
              <a:t>Measures above the note-worthy correlation coefficient parameter of 0.2 as defined by Chris Hui, Springboard course founder</a:t>
            </a:r>
          </a:p>
          <a:p>
            <a:endParaRPr lang="en-US" sz="800" dirty="0"/>
          </a:p>
        </p:txBody>
      </p:sp>
      <p:pic>
        <p:nvPicPr>
          <p:cNvPr id="5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B83D554-2D09-1544-BDCD-A8119D01495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653"/>
          <a:stretch/>
        </p:blipFill>
        <p:spPr>
          <a:xfrm>
            <a:off x="6172199" y="2071163"/>
            <a:ext cx="2225939" cy="4149858"/>
          </a:xfrm>
          <a:prstGeom prst="rect">
            <a:avLst/>
          </a:prstGeom>
        </p:spPr>
      </p:pic>
      <p:sp>
        <p:nvSpPr>
          <p:cNvPr id="20" name="Google Shape;67;p2">
            <a:extLst>
              <a:ext uri="{FF2B5EF4-FFF2-40B4-BE49-F238E27FC236}">
                <a16:creationId xmlns:a16="http://schemas.microsoft.com/office/drawing/2014/main" id="{97186876-E3F3-BE4B-8CAA-1B26A8EEE2BA}"/>
              </a:ext>
            </a:extLst>
          </p:cNvPr>
          <p:cNvSpPr txBox="1"/>
          <p:nvPr/>
        </p:nvSpPr>
        <p:spPr>
          <a:xfrm>
            <a:off x="172475" y="916962"/>
            <a:ext cx="4120955" cy="586867"/>
          </a:xfrm>
          <a:prstGeom prst="rect">
            <a:avLst/>
          </a:prstGeom>
          <a:solidFill>
            <a:srgbClr val="FBC14E">
              <a:alpha val="338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-US" sz="1100" dirty="0"/>
              <a:t>Percent population with no high school diploma showed the strongest correlation with US county COVID death rates.</a:t>
            </a:r>
          </a:p>
          <a:p>
            <a:r>
              <a:rPr lang="en-US" sz="1100" dirty="0"/>
              <a:t>These vulnerable counties should receive educational support.</a:t>
            </a:r>
          </a:p>
          <a:p>
            <a:pPr marL="15875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</a:pPr>
            <a:endParaRPr lang="en-US" sz="1100" b="1" dirty="0"/>
          </a:p>
        </p:txBody>
      </p:sp>
      <p:sp>
        <p:nvSpPr>
          <p:cNvPr id="22" name="Google Shape;67;p2">
            <a:extLst>
              <a:ext uri="{FF2B5EF4-FFF2-40B4-BE49-F238E27FC236}">
                <a16:creationId xmlns:a16="http://schemas.microsoft.com/office/drawing/2014/main" id="{8E567B65-32C1-7047-9D99-E254CF888DB0}"/>
              </a:ext>
            </a:extLst>
          </p:cNvPr>
          <p:cNvSpPr txBox="1"/>
          <p:nvPr/>
        </p:nvSpPr>
        <p:spPr>
          <a:xfrm>
            <a:off x="4379613" y="916962"/>
            <a:ext cx="4120955" cy="586867"/>
          </a:xfrm>
          <a:prstGeom prst="rect">
            <a:avLst/>
          </a:prstGeom>
          <a:solidFill>
            <a:srgbClr val="FBC14E">
              <a:alpha val="338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-US" sz="1100" dirty="0"/>
              <a:t>Many income-related county population variables correlated at over an absolute value of 0.2 with COVID death rate.</a:t>
            </a:r>
            <a:r>
              <a:rPr lang="en-US" sz="1100" baseline="30000" dirty="0"/>
              <a:t>2</a:t>
            </a:r>
            <a:r>
              <a:rPr lang="en-US" sz="1100" dirty="0"/>
              <a:t> Percent fair or poor health was more strongly correlated at 0.31.</a:t>
            </a:r>
          </a:p>
          <a:p>
            <a:endParaRPr lang="en-US" sz="1100" dirty="0"/>
          </a:p>
          <a:p>
            <a:pPr marL="15875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</a:pPr>
            <a:endParaRPr lang="en-US" sz="1100" b="1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6E759FB-DC41-2E44-B51E-645135427920}"/>
              </a:ext>
            </a:extLst>
          </p:cNvPr>
          <p:cNvSpPr txBox="1"/>
          <p:nvPr/>
        </p:nvSpPr>
        <p:spPr>
          <a:xfrm>
            <a:off x="1821480" y="1880663"/>
            <a:ext cx="920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efficien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56A4CD1-08DE-604F-B3BA-83820E253F5D}"/>
              </a:ext>
            </a:extLst>
          </p:cNvPr>
          <p:cNvSpPr txBox="1"/>
          <p:nvPr/>
        </p:nvSpPr>
        <p:spPr>
          <a:xfrm>
            <a:off x="575931" y="1680608"/>
            <a:ext cx="2166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rrelation with COVID death rat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564923A-B1D6-3E43-A5F2-354B3B1022F8}"/>
              </a:ext>
            </a:extLst>
          </p:cNvPr>
          <p:cNvSpPr txBox="1"/>
          <p:nvPr/>
        </p:nvSpPr>
        <p:spPr>
          <a:xfrm>
            <a:off x="4621765" y="1896439"/>
            <a:ext cx="920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efficien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C20EE1A-A91E-5A4C-BB43-5742A0D0A809}"/>
              </a:ext>
            </a:extLst>
          </p:cNvPr>
          <p:cNvSpPr txBox="1"/>
          <p:nvPr/>
        </p:nvSpPr>
        <p:spPr>
          <a:xfrm>
            <a:off x="3376216" y="1696384"/>
            <a:ext cx="2166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rrelation with COVID death rat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32817F1-0939-D84A-92F6-38EEB63A3781}"/>
              </a:ext>
            </a:extLst>
          </p:cNvPr>
          <p:cNvSpPr txBox="1"/>
          <p:nvPr/>
        </p:nvSpPr>
        <p:spPr>
          <a:xfrm>
            <a:off x="7638235" y="1841997"/>
            <a:ext cx="920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efficien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3C051FE-2A27-9244-9899-939BE13DE432}"/>
              </a:ext>
            </a:extLst>
          </p:cNvPr>
          <p:cNvSpPr txBox="1"/>
          <p:nvPr/>
        </p:nvSpPr>
        <p:spPr>
          <a:xfrm>
            <a:off x="6392686" y="1641942"/>
            <a:ext cx="2166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rrelation with COVID death rate</a:t>
            </a:r>
          </a:p>
        </p:txBody>
      </p:sp>
    </p:spTree>
    <p:extLst>
      <p:ext uri="{BB962C8B-B14F-4D97-AF65-F5344CB8AC3E}">
        <p14:creationId xmlns:p14="http://schemas.microsoft.com/office/powerpoint/2010/main" val="12938714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The strongest predictors of COVID death rate in US counties relate to education, race, and health status. </a:t>
            </a:r>
            <a:endParaRPr dirty="0"/>
          </a:p>
        </p:txBody>
      </p:sp>
      <p:cxnSp>
        <p:nvCxnSpPr>
          <p:cNvPr id="115" name="Google Shape;115;p6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05AB2F98-EA47-DD45-8E62-984B07ECBB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3069" y="1011237"/>
            <a:ext cx="3953818" cy="2289378"/>
          </a:xfrm>
          <a:prstGeom prst="rect">
            <a:avLst/>
          </a:prstGeom>
        </p:spPr>
      </p:pic>
      <p:pic>
        <p:nvPicPr>
          <p:cNvPr id="6" name="Picture 5" descr="Chart, scatter chart&#10;&#10;Description automatically generated">
            <a:extLst>
              <a:ext uri="{FF2B5EF4-FFF2-40B4-BE49-F238E27FC236}">
                <a16:creationId xmlns:a16="http://schemas.microsoft.com/office/drawing/2014/main" id="{D23BD135-06B7-5843-B0FE-97EC6496B1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4546" y="1011236"/>
            <a:ext cx="3992374" cy="2289377"/>
          </a:xfrm>
          <a:prstGeom prst="rect">
            <a:avLst/>
          </a:prstGeom>
        </p:spPr>
      </p:pic>
      <p:pic>
        <p:nvPicPr>
          <p:cNvPr id="8" name="Picture 7" descr="Chart, scatter chart&#10;&#10;Description automatically generated">
            <a:extLst>
              <a:ext uri="{FF2B5EF4-FFF2-40B4-BE49-F238E27FC236}">
                <a16:creationId xmlns:a16="http://schemas.microsoft.com/office/drawing/2014/main" id="{809A0097-56D0-924A-BEF0-2F7E0876DE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8400" y="3317105"/>
            <a:ext cx="3914097" cy="2289378"/>
          </a:xfrm>
          <a:prstGeom prst="rect">
            <a:avLst/>
          </a:prstGeom>
        </p:spPr>
      </p:pic>
      <p:pic>
        <p:nvPicPr>
          <p:cNvPr id="10" name="Picture 9" descr="Chart, scatter chart&#10;&#10;Description automatically generated">
            <a:extLst>
              <a:ext uri="{FF2B5EF4-FFF2-40B4-BE49-F238E27FC236}">
                <a16:creationId xmlns:a16="http://schemas.microsoft.com/office/drawing/2014/main" id="{211075A6-137A-424E-B484-7274A1522E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4947" y="3300613"/>
            <a:ext cx="3957304" cy="232236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395C940-D308-4243-85AC-AFE53F3EC04E}"/>
              </a:ext>
            </a:extLst>
          </p:cNvPr>
          <p:cNvSpPr txBox="1"/>
          <p:nvPr/>
        </p:nvSpPr>
        <p:spPr>
          <a:xfrm>
            <a:off x="5417121" y="5622975"/>
            <a:ext cx="337286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dk1"/>
                </a:solidFill>
              </a:rPr>
              <a:t>percent no high school diploma (purpl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dk1"/>
                </a:solidFill>
              </a:rPr>
              <a:t>percent Black (blu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dk1"/>
                </a:solidFill>
              </a:rPr>
              <a:t>percent white (gree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dk1"/>
                </a:solidFill>
              </a:rPr>
              <a:t>percent fair or poor health (orange)</a:t>
            </a:r>
            <a:endParaRPr lang="en-US" sz="1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1E4ED4-8BEF-834C-BDDB-093E7819BB37}"/>
              </a:ext>
            </a:extLst>
          </p:cNvPr>
          <p:cNvSpPr txBox="1"/>
          <p:nvPr/>
        </p:nvSpPr>
        <p:spPr>
          <a:xfrm>
            <a:off x="423069" y="5624335"/>
            <a:ext cx="5056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dk1"/>
                </a:solidFill>
              </a:rPr>
              <a:t>Each plot shows variables correlating most strongly with COVID death rate in counties:</a:t>
            </a:r>
            <a:endParaRPr lang="en-US" sz="1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D73996-9938-4047-AC11-6FD038F99946}"/>
              </a:ext>
            </a:extLst>
          </p:cNvPr>
          <p:cNvSpPr txBox="1"/>
          <p:nvPr/>
        </p:nvSpPr>
        <p:spPr>
          <a:xfrm>
            <a:off x="423069" y="5984111"/>
            <a:ext cx="4994052" cy="2923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300" dirty="0"/>
              <a:t>These are the significant factors the data tells us to think about.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p5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dirty="0">
                <a:solidFill>
                  <a:srgbClr val="002060"/>
                </a:solidFill>
              </a:rPr>
              <a:t>Societal factors in US counties </a:t>
            </a:r>
            <a:r>
              <a:rPr lang="en-US" sz="1600" u="sng" dirty="0">
                <a:solidFill>
                  <a:srgbClr val="002060"/>
                </a:solidFill>
              </a:rPr>
              <a:t>not</a:t>
            </a:r>
            <a:r>
              <a:rPr lang="en-US" sz="1600" dirty="0">
                <a:solidFill>
                  <a:srgbClr val="002060"/>
                </a:solidFill>
              </a:rPr>
              <a:t> linked to COVID death rate: percent over age 65, population density. Timing of stay-at-home order shows small relationship.</a:t>
            </a:r>
            <a:endParaRPr sz="16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Picture 3" descr="Chart&#10;&#10;Description automatically generated">
            <a:extLst>
              <a:ext uri="{FF2B5EF4-FFF2-40B4-BE49-F238E27FC236}">
                <a16:creationId xmlns:a16="http://schemas.microsoft.com/office/drawing/2014/main" id="{855FFF48-C7A5-A34F-8016-703B5B44951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924"/>
          <a:stretch/>
        </p:blipFill>
        <p:spPr>
          <a:xfrm>
            <a:off x="114994" y="1429075"/>
            <a:ext cx="2451100" cy="3166514"/>
          </a:xfrm>
          <a:prstGeom prst="rect">
            <a:avLst/>
          </a:prstGeom>
        </p:spPr>
      </p:pic>
      <p:pic>
        <p:nvPicPr>
          <p:cNvPr id="7" name="Picture 6" descr="Map&#10;&#10;Description automatically generated">
            <a:extLst>
              <a:ext uri="{FF2B5EF4-FFF2-40B4-BE49-F238E27FC236}">
                <a16:creationId xmlns:a16="http://schemas.microsoft.com/office/drawing/2014/main" id="{8ADC073A-BC9F-3245-BEBD-EA49E4E9BCB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46"/>
          <a:stretch/>
        </p:blipFill>
        <p:spPr>
          <a:xfrm>
            <a:off x="3149404" y="1546486"/>
            <a:ext cx="5640584" cy="3040063"/>
          </a:xfrm>
          <a:prstGeom prst="rect">
            <a:avLst/>
          </a:prstGeom>
        </p:spPr>
      </p:pic>
      <p:sp>
        <p:nvSpPr>
          <p:cNvPr id="10" name="Google Shape;67;p2">
            <a:extLst>
              <a:ext uri="{FF2B5EF4-FFF2-40B4-BE49-F238E27FC236}">
                <a16:creationId xmlns:a16="http://schemas.microsoft.com/office/drawing/2014/main" id="{EF3BE12F-466C-3F47-B1C6-34415B6826AC}"/>
              </a:ext>
            </a:extLst>
          </p:cNvPr>
          <p:cNvSpPr txBox="1"/>
          <p:nvPr/>
        </p:nvSpPr>
        <p:spPr>
          <a:xfrm>
            <a:off x="194878" y="4832572"/>
            <a:ext cx="4512446" cy="1784127"/>
          </a:xfrm>
          <a:prstGeom prst="rect">
            <a:avLst/>
          </a:prstGeom>
          <a:solidFill>
            <a:srgbClr val="FBC14E">
              <a:alpha val="338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indent="-171450">
              <a:buSzPct val="150000"/>
              <a:buFont typeface="Arial" panose="020B0604020202020204" pitchFamily="34" charset="0"/>
              <a:buChar char="•"/>
            </a:pPr>
            <a:r>
              <a:rPr lang="en-US" sz="1000" dirty="0"/>
              <a:t>In addition to COVID death rate and societal factors already explored, maps in this presentation show population density, counties closer together in the east &amp; south. However, this is not likely to account for higher COVID death rate, as we did not find a correlation in the dataset with density or overcrowding. </a:t>
            </a:r>
          </a:p>
          <a:p>
            <a:pPr marL="171450" indent="-171450">
              <a:buSzPct val="150000"/>
              <a:buFont typeface="Arial" panose="020B0604020202020204" pitchFamily="34" charset="0"/>
              <a:buChar char="•"/>
            </a:pPr>
            <a:r>
              <a:rPr lang="en-US" sz="1000" dirty="0"/>
              <a:t>In the map, larger circles denote higher COVID death rates. While later stay at home orders and higher death rates do not always occur together, they are mildly linked at a correlation coefficient of 0.15.</a:t>
            </a:r>
          </a:p>
          <a:p>
            <a:pPr marL="171450" indent="-171450">
              <a:buSzPct val="150000"/>
              <a:buFont typeface="Arial" panose="020B0604020202020204" pitchFamily="34" charset="0"/>
              <a:buChar char="•"/>
            </a:pPr>
            <a:r>
              <a:rPr lang="en-US" sz="1000" dirty="0"/>
              <a:t>Later orders correlated strongly with percent Black (0.34) and negatively with percent white (-0.24). It may be that governments still have a comparatively stronger commitment to saving white lives.</a:t>
            </a:r>
          </a:p>
          <a:p>
            <a:pPr marL="171450" indent="-171450">
              <a:buSzPct val="150000"/>
              <a:buFont typeface="Arial" panose="020B0604020202020204" pitchFamily="34" charset="0"/>
              <a:buChar char="•"/>
            </a:pPr>
            <a:endParaRPr lang="en-US" sz="1000" dirty="0"/>
          </a:p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46226DD-9A00-704A-B555-3F161BD36B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8115311" y="3551615"/>
            <a:ext cx="133543" cy="9348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14FB4ED-1122-1F44-AF42-20693B57C3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15243" y="3731272"/>
            <a:ext cx="136625" cy="934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8FF73D6-9738-1048-91F8-306DC98748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28866" y="3954115"/>
            <a:ext cx="129011" cy="8600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B63271E-FBCD-E84D-A466-99FB1444D4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24161" y="4154373"/>
            <a:ext cx="108316" cy="9026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FC5AEDE8-E29A-1549-9147-DA4F3BF8E06E}"/>
              </a:ext>
            </a:extLst>
          </p:cNvPr>
          <p:cNvSpPr txBox="1"/>
          <p:nvPr/>
        </p:nvSpPr>
        <p:spPr>
          <a:xfrm>
            <a:off x="8026400" y="3002106"/>
            <a:ext cx="8200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tay at home start: days after 3/17/2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C6ACB77-2D22-CB4B-ABE6-9ACA454AE15E}"/>
              </a:ext>
            </a:extLst>
          </p:cNvPr>
          <p:cNvSpPr txBox="1"/>
          <p:nvPr/>
        </p:nvSpPr>
        <p:spPr>
          <a:xfrm>
            <a:off x="8283277" y="3480216"/>
            <a:ext cx="56316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0-7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9BF5B98-9CF8-EC4F-B2F9-E2A7930F79B2}"/>
              </a:ext>
            </a:extLst>
          </p:cNvPr>
          <p:cNvSpPr txBox="1"/>
          <p:nvPr/>
        </p:nvSpPr>
        <p:spPr>
          <a:xfrm>
            <a:off x="8239521" y="3677677"/>
            <a:ext cx="56316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7-14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B4E4C82-50E3-D04F-B412-1452F5BA89EB}"/>
              </a:ext>
            </a:extLst>
          </p:cNvPr>
          <p:cNvSpPr txBox="1"/>
          <p:nvPr/>
        </p:nvSpPr>
        <p:spPr>
          <a:xfrm>
            <a:off x="8226821" y="3893121"/>
            <a:ext cx="4849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14-2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1B3309-C7B5-FC4F-BB6B-6BBCB2C48272}"/>
              </a:ext>
            </a:extLst>
          </p:cNvPr>
          <p:cNvSpPr txBox="1"/>
          <p:nvPr/>
        </p:nvSpPr>
        <p:spPr>
          <a:xfrm>
            <a:off x="8225232" y="4094327"/>
            <a:ext cx="7838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No ord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76199FA-2B9F-0E4E-A62B-33B3808E5627}"/>
              </a:ext>
            </a:extLst>
          </p:cNvPr>
          <p:cNvSpPr txBox="1"/>
          <p:nvPr/>
        </p:nvSpPr>
        <p:spPr>
          <a:xfrm>
            <a:off x="3136704" y="1121298"/>
            <a:ext cx="56298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tay-at-home order date by county</a:t>
            </a:r>
          </a:p>
        </p:txBody>
      </p:sp>
      <p:sp>
        <p:nvSpPr>
          <p:cNvPr id="26" name="Google Shape;64;p2">
            <a:extLst>
              <a:ext uri="{FF2B5EF4-FFF2-40B4-BE49-F238E27FC236}">
                <a16:creationId xmlns:a16="http://schemas.microsoft.com/office/drawing/2014/main" id="{AFF54938-47C1-514B-98A7-5DCD2656EB18}"/>
              </a:ext>
            </a:extLst>
          </p:cNvPr>
          <p:cNvSpPr txBox="1"/>
          <p:nvPr/>
        </p:nvSpPr>
        <p:spPr>
          <a:xfrm>
            <a:off x="5680609" y="5945510"/>
            <a:ext cx="2577268" cy="400069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</a:pPr>
            <a:r>
              <a:rPr lang="en-US" sz="1000" b="1" dirty="0">
                <a:solidFill>
                  <a:schemeClr val="dk1"/>
                </a:solidFill>
              </a:rPr>
              <a:t>Raise government commitments to saving Black lives.</a:t>
            </a:r>
            <a:endParaRPr sz="1400" b="0" i="0" u="none" strike="noStrike" cap="none" baseline="300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66;p2">
            <a:extLst>
              <a:ext uri="{FF2B5EF4-FFF2-40B4-BE49-F238E27FC236}">
                <a16:creationId xmlns:a16="http://schemas.microsoft.com/office/drawing/2014/main" id="{EDFB511D-BF1F-F143-95AD-0D88A8A2B8A3}"/>
              </a:ext>
            </a:extLst>
          </p:cNvPr>
          <p:cNvSpPr/>
          <p:nvPr/>
        </p:nvSpPr>
        <p:spPr>
          <a:xfrm>
            <a:off x="5671586" y="5722536"/>
            <a:ext cx="2577268" cy="222974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dress racial disparit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4F4B8F3-68F1-764A-A949-AA45F6C2D865}"/>
              </a:ext>
            </a:extLst>
          </p:cNvPr>
          <p:cNvSpPr txBox="1"/>
          <p:nvPr/>
        </p:nvSpPr>
        <p:spPr>
          <a:xfrm>
            <a:off x="1918931" y="1269036"/>
            <a:ext cx="920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efficient</a:t>
            </a:r>
          </a:p>
        </p:txBody>
      </p:sp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31139B72-8D71-3A4B-8ED6-3F2A36CE41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9511456"/>
              </p:ext>
            </p:extLst>
          </p:nvPr>
        </p:nvGraphicFramePr>
        <p:xfrm>
          <a:off x="4860925" y="4838700"/>
          <a:ext cx="1371990" cy="787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85995">
                  <a:extLst>
                    <a:ext uri="{9D8B030D-6E8A-4147-A177-3AD203B41FA5}">
                      <a16:colId xmlns:a16="http://schemas.microsoft.com/office/drawing/2014/main" val="2264089884"/>
                    </a:ext>
                  </a:extLst>
                </a:gridCol>
                <a:gridCol w="685995">
                  <a:extLst>
                    <a:ext uri="{9D8B030D-6E8A-4147-A177-3AD203B41FA5}">
                      <a16:colId xmlns:a16="http://schemas.microsoft.com/office/drawing/2014/main" val="2878947119"/>
                    </a:ext>
                  </a:extLst>
                </a:gridCol>
              </a:tblGrid>
              <a:tr h="371525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Correlation with COVID death rat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15" marR="7915" marT="791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952017"/>
                  </a:ext>
                </a:extLst>
              </a:tr>
              <a:tr h="168860"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15" marR="7915" marT="791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Coefficient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15" marR="7915" marT="7915" marB="0" anchor="b"/>
                </a:tc>
                <a:extLst>
                  <a:ext uri="{0D108BD9-81ED-4DB2-BD59-A6C34878D82A}">
                    <a16:rowId xmlns:a16="http://schemas.microsoft.com/office/drawing/2014/main" val="775066447"/>
                  </a:ext>
                </a:extLst>
              </a:tr>
              <a:tr h="24701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Later order,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15" marR="7915" marT="7915" marB="0" anchor="b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0.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15" marR="7915" marT="7915" marB="0" anchor="b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8530184"/>
                  </a:ext>
                </a:extLst>
              </a:tr>
            </a:tbl>
          </a:graphicData>
        </a:graphic>
      </p:graphicFrame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6929174A-C777-864E-B00E-62DAB8FF5D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4465386"/>
              </p:ext>
            </p:extLst>
          </p:nvPr>
        </p:nvGraphicFramePr>
        <p:xfrm>
          <a:off x="7033740" y="4808654"/>
          <a:ext cx="1583406" cy="8032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91703">
                  <a:extLst>
                    <a:ext uri="{9D8B030D-6E8A-4147-A177-3AD203B41FA5}">
                      <a16:colId xmlns:a16="http://schemas.microsoft.com/office/drawing/2014/main" val="3146686724"/>
                    </a:ext>
                  </a:extLst>
                </a:gridCol>
                <a:gridCol w="791703">
                  <a:extLst>
                    <a:ext uri="{9D8B030D-6E8A-4147-A177-3AD203B41FA5}">
                      <a16:colId xmlns:a16="http://schemas.microsoft.com/office/drawing/2014/main" val="330250081"/>
                    </a:ext>
                  </a:extLst>
                </a:gridCol>
              </a:tblGrid>
              <a:tr h="214507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Correlation with later order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8241120"/>
                  </a:ext>
                </a:extLst>
              </a:tr>
              <a:tr h="194881"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Coefficient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/>
                </a:tc>
                <a:extLst>
                  <a:ext uri="{0D108BD9-81ED-4DB2-BD59-A6C34878D82A}">
                    <a16:rowId xmlns:a16="http://schemas.microsoft.com/office/drawing/2014/main" val="386649501"/>
                  </a:ext>
                </a:extLst>
              </a:tr>
              <a:tr h="19488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perc_black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0.3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8108981"/>
                  </a:ext>
                </a:extLst>
              </a:tr>
              <a:tr h="19899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perc_whit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>
                    <a:solidFill>
                      <a:srgbClr val="FF93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-0.2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>
                    <a:solidFill>
                      <a:srgbClr val="FF93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6608518"/>
                  </a:ext>
                </a:extLst>
              </a:tr>
            </a:tbl>
          </a:graphicData>
        </a:graphic>
      </p:graphicFrame>
      <p:sp>
        <p:nvSpPr>
          <p:cNvPr id="32" name="TextBox 31">
            <a:extLst>
              <a:ext uri="{FF2B5EF4-FFF2-40B4-BE49-F238E27FC236}">
                <a16:creationId xmlns:a16="http://schemas.microsoft.com/office/drawing/2014/main" id="{BB0ED94F-D73F-4949-8F17-F0910FDDD55F}"/>
              </a:ext>
            </a:extLst>
          </p:cNvPr>
          <p:cNvSpPr txBox="1"/>
          <p:nvPr/>
        </p:nvSpPr>
        <p:spPr>
          <a:xfrm>
            <a:off x="673382" y="1068981"/>
            <a:ext cx="2166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rrelation with COVID death r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3D5665B-C668-0E4A-858E-E32B88697B42}"/>
              </a:ext>
            </a:extLst>
          </p:cNvPr>
          <p:cNvSpPr txBox="1"/>
          <p:nvPr/>
        </p:nvSpPr>
        <p:spPr>
          <a:xfrm>
            <a:off x="4860925" y="6432698"/>
            <a:ext cx="37039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tay at home order information: </a:t>
            </a:r>
            <a:r>
              <a:rPr lang="en-US" sz="800" dirty="0">
                <a:hlinkClick r:id="rId9"/>
              </a:rPr>
              <a:t>https://ephtracking.cdc.gov/DataExplorer/</a:t>
            </a:r>
            <a:endParaRPr lang="en-US" sz="800" dirty="0"/>
          </a:p>
          <a:p>
            <a:endParaRPr lang="en-US" sz="800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3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b="1" i="0" u="none" strike="noStrike" cap="none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Recommendations</a:t>
            </a:r>
            <a:endParaRPr sz="16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2F8DE7-D3F3-9745-883B-5A8289DFB63D}"/>
              </a:ext>
            </a:extLst>
          </p:cNvPr>
          <p:cNvSpPr txBox="1"/>
          <p:nvPr/>
        </p:nvSpPr>
        <p:spPr>
          <a:xfrm>
            <a:off x="187335" y="1270000"/>
            <a:ext cx="8602653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Risk Profile</a:t>
            </a:r>
          </a:p>
          <a:p>
            <a:r>
              <a:rPr lang="en-US" dirty="0"/>
              <a:t>Counties with higher percentage populations of the following tend to be more vulnerable to COVID death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ithout a high school diplo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lack Americ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ildren in pover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 fair or poor health</a:t>
            </a:r>
          </a:p>
          <a:p>
            <a:r>
              <a:rPr lang="en-US" dirty="0"/>
              <a:t>The US south region holds many, though not all, counties with one or more aspects of this risk profile. </a:t>
            </a:r>
          </a:p>
          <a:p>
            <a:endParaRPr lang="en-US" dirty="0"/>
          </a:p>
          <a:p>
            <a:r>
              <a:rPr lang="en-US" dirty="0"/>
              <a:t>States historically invested the longest in slavery made fewer public good expenditures.</a:t>
            </a:r>
          </a:p>
          <a:p>
            <a:r>
              <a:rPr lang="en-US" dirty="0"/>
              <a:t>Inequalities persist today, impacting those less access to healthcare and education, as well as Black, and low-income populations.</a:t>
            </a:r>
            <a:r>
              <a:rPr lang="en-US" baseline="30000" dirty="0"/>
              <a:t>1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15AF7DD2-849E-AD43-A391-277B303E23A7}"/>
              </a:ext>
            </a:extLst>
          </p:cNvPr>
          <p:cNvSpPr txBox="1"/>
          <p:nvPr/>
        </p:nvSpPr>
        <p:spPr>
          <a:xfrm>
            <a:off x="171448" y="3732213"/>
            <a:ext cx="83851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Recommendations with focus on US south first</a:t>
            </a:r>
          </a:p>
          <a:p>
            <a:r>
              <a:rPr lang="en-US" dirty="0"/>
              <a:t>Interventions to improve COVID outcomes and long-term health and productiv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ducation, health care, nutritious food for all citiz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iving wage, subsidized child-care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3D7DBDED-6992-004F-8989-FE8A11F6B65F}"/>
              </a:ext>
            </a:extLst>
          </p:cNvPr>
          <p:cNvSpPr txBox="1"/>
          <p:nvPr/>
        </p:nvSpPr>
        <p:spPr>
          <a:xfrm>
            <a:off x="171447" y="4857730"/>
            <a:ext cx="838516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 medical settings</a:t>
            </a:r>
            <a:r>
              <a:rPr lang="en-US" baseline="30000" dirty="0"/>
              <a:t>2</a:t>
            </a:r>
            <a:r>
              <a:rPr lang="en-US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mpathy training for providers toward all ra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inician/ patient conversations sharing personal stories about medical trea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sking patients their preferen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iving refunds in response to a bad experien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C5BD51D-637C-C845-A199-4D6A5AAF6BEF}"/>
              </a:ext>
            </a:extLst>
          </p:cNvPr>
          <p:cNvSpPr txBox="1"/>
          <p:nvPr/>
        </p:nvSpPr>
        <p:spPr>
          <a:xfrm>
            <a:off x="187335" y="6194426"/>
            <a:ext cx="87899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aseline="30000" dirty="0"/>
              <a:t>1 </a:t>
            </a:r>
            <a:r>
              <a:rPr lang="en-US" sz="800" dirty="0">
                <a:hlinkClick r:id="rId3"/>
              </a:rPr>
              <a:t>McGhee, Heather. _The Sum of Us: What Racism Costs Everyone and How We Can Prosper Together.</a:t>
            </a:r>
          </a:p>
          <a:p>
            <a:r>
              <a:rPr lang="en-US" sz="800" baseline="30000" dirty="0"/>
              <a:t>2</a:t>
            </a:r>
            <a:r>
              <a:rPr lang="en-US" sz="800" dirty="0">
                <a:hlinkClick r:id="rId3"/>
              </a:rPr>
              <a:t>_</a:t>
            </a:r>
            <a:r>
              <a:rPr lang="en-US" sz="800" dirty="0">
                <a:hlinkClick r:id="rId4"/>
              </a:rPr>
              <a:t>https://www.commonwealthfund.org/publications/newsletter-article/2021/jan/medical-mistrust-among-black-americans</a:t>
            </a:r>
            <a:endParaRPr lang="en-US" sz="80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Sources</a:t>
            </a:r>
            <a:endParaRPr dirty="0"/>
          </a:p>
        </p:txBody>
      </p:sp>
      <p:cxnSp>
        <p:nvCxnSpPr>
          <p:cNvPr id="115" name="Google Shape;115;p6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AC7A40C4-9D99-0546-9CF8-1C2D0A600D9F}"/>
              </a:ext>
            </a:extLst>
          </p:cNvPr>
          <p:cNvSpPr txBox="1"/>
          <p:nvPr/>
        </p:nvSpPr>
        <p:spPr>
          <a:xfrm>
            <a:off x="182468" y="1004341"/>
            <a:ext cx="8087462" cy="54476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Links to sources</a:t>
            </a:r>
          </a:p>
          <a:p>
            <a:r>
              <a:rPr lang="en-US" sz="1200" dirty="0"/>
              <a:t>The dataset</a:t>
            </a:r>
          </a:p>
          <a:p>
            <a:r>
              <a:rPr lang="en-US" sz="1200" dirty="0">
                <a:hlinkClick r:id="rId3"/>
              </a:rPr>
              <a:t>https://www.kaggle.com/johnjdavisiv/us-counties-covid19-weather-sociohealth-data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CDC COVID death by county</a:t>
            </a:r>
          </a:p>
          <a:p>
            <a:r>
              <a:rPr lang="en-US" sz="1200" dirty="0">
                <a:hlinkClick r:id="rId4"/>
              </a:rPr>
              <a:t>https://www.cdc.gov/nchs/covid19/covid-19-mortality-data-files.htm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CDC stay-at-home order information</a:t>
            </a:r>
          </a:p>
          <a:p>
            <a:r>
              <a:rPr lang="en-US" sz="1200" dirty="0">
                <a:hlinkClick r:id="rId5"/>
              </a:rPr>
              <a:t>https://ephtracking.cdc.gov/DataExplorer/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New York Times COVID case and death counts</a:t>
            </a:r>
          </a:p>
          <a:p>
            <a:r>
              <a:rPr lang="en-US" sz="1200" dirty="0">
                <a:hlinkClick r:id="rId6"/>
              </a:rPr>
              <a:t>https://github.com/nytimes/covid-19-data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Kaiser Family Foundation (stay at home orders)</a:t>
            </a:r>
          </a:p>
          <a:p>
            <a:r>
              <a:rPr lang="en-US" sz="1200" dirty="0">
                <a:hlinkClick r:id="rId7"/>
              </a:rPr>
              <a:t>https://www.kff.org/policy-watch/stay-at-home-orders-to-fight-covid19/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County Health Rankings</a:t>
            </a:r>
          </a:p>
          <a:p>
            <a:r>
              <a:rPr lang="en-US" sz="1200" dirty="0">
                <a:hlinkClick r:id="rId8"/>
              </a:rPr>
              <a:t>https://www.countyhealthrankings.org/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Correlation between age and COVID deaths</a:t>
            </a:r>
          </a:p>
          <a:p>
            <a:r>
              <a:rPr lang="en-US" sz="1200" dirty="0">
                <a:hlinkClick r:id="rId9"/>
              </a:rPr>
              <a:t>https://www.ncbi.nlm.nih.gov/pmc/articles/PMC7335648/#:~:text=Among%20COVID-19%20patients%2C%20elderly,respectively%20%5B5%2C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Research showing differentially worse medical treatment of Black Americans; suggested interventions </a:t>
            </a:r>
          </a:p>
          <a:p>
            <a:r>
              <a:rPr lang="en-US" sz="1200" dirty="0">
                <a:hlinkClick r:id="rId10"/>
              </a:rPr>
              <a:t>https://www.commonwealthfund.org/publications/newsletter-article/2021/jan/medical-mistrust-among-black-americans</a:t>
            </a:r>
            <a:endParaRPr lang="en-US" sz="1200" dirty="0"/>
          </a:p>
          <a:p>
            <a:endParaRPr lang="en-US" sz="1200" dirty="0"/>
          </a:p>
          <a:p>
            <a:endParaRPr lang="en-US" sz="1200" dirty="0"/>
          </a:p>
          <a:p>
            <a:endParaRPr lang="en-US" sz="1200" dirty="0"/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898157698"/>
      </p:ext>
    </p:extLst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369</TotalTime>
  <Words>1464</Words>
  <Application>Microsoft Macintosh PowerPoint</Application>
  <PresentationFormat>Custom</PresentationFormat>
  <Paragraphs>161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Calibri</vt:lpstr>
      <vt:lpstr>Castellar</vt:lpstr>
      <vt:lpstr>Kalinga</vt:lpstr>
      <vt:lpstr>Quattrocento Sans</vt:lpstr>
      <vt:lpstr>Roboto</vt:lpstr>
      <vt:lpstr>Synergy_CF_YNR002</vt:lpstr>
      <vt:lpstr>1_Synergy_CF_YNR002</vt:lpstr>
      <vt:lpstr>TCLayout.ActiveDocument.1</vt:lpstr>
      <vt:lpstr>COVID Deaths &amp; Societal Factors– Executive Presentation</vt:lpstr>
      <vt:lpstr>Executive Summary: Which societal factors correlate with COVID death rate in US counties and have value in predicting the geographical areas where most help is needed?</vt:lpstr>
      <vt:lpstr>Among the categories of societal factors examined, the racial percentages of counties account for three of the five strongest predictors of COVID death rate.</vt:lpstr>
      <vt:lpstr>Structural racism persists: many counties with comparatively high COVID death rates have higher Black populations and lower white ones.1</vt:lpstr>
      <vt:lpstr>Factors related to education, income, and health status also rank as strong predictors of death rate due to COVID.1</vt:lpstr>
      <vt:lpstr>The strongest predictors of COVID death rate in US counties relate to education, race, and health status. </vt:lpstr>
      <vt:lpstr>Societal factors in US counties not linked to COVID death rate: percent over age 65, population density. Timing of stay-at-home order shows small relationship.</vt:lpstr>
      <vt:lpstr>Recommendations</vt:lpstr>
      <vt:lpstr>Sources</vt:lpstr>
      <vt:lpstr>Sources, continue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Executive Presentation</dc:title>
  <dc:creator>Chris Hui</dc:creator>
  <cp:lastModifiedBy>Elizabeth Miller</cp:lastModifiedBy>
  <cp:revision>78</cp:revision>
  <dcterms:created xsi:type="dcterms:W3CDTF">2015-09-14T11:37:31Z</dcterms:created>
  <dcterms:modified xsi:type="dcterms:W3CDTF">2021-04-15T04:10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